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30T14:56:10.688" v="18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3-30T14:56:10.688" v="18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A4CFA2F4-FF8D-446B-B271-6DF568DBEADA}" dt="2026-03-30T14:55:02.171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3-30T14:55:19.666" v="6" actId="6549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55500</c:v>
                </c:pt>
                <c:pt idx="1">
                  <c:v>62400</c:v>
                </c:pt>
                <c:pt idx="2">
                  <c:v>86700</c:v>
                </c:pt>
                <c:pt idx="3">
                  <c:v>86700</c:v>
                </c:pt>
                <c:pt idx="4">
                  <c:v>92900</c:v>
                </c:pt>
                <c:pt idx="5">
                  <c:v>99900</c:v>
                </c:pt>
                <c:pt idx="6">
                  <c:v>107700</c:v>
                </c:pt>
                <c:pt idx="7">
                  <c:v>112100</c:v>
                </c:pt>
                <c:pt idx="8">
                  <c:v>114900</c:v>
                </c:pt>
                <c:pt idx="9">
                  <c:v>116400</c:v>
                </c:pt>
                <c:pt idx="10">
                  <c:v>191700</c:v>
                </c:pt>
                <c:pt idx="11">
                  <c:v>480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30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ffluenza dei viaggiatori nelle stazioni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11255789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116344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umero medio di viaggiatori che salgono e scendono dai mezzi per giorno lavorativo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177880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no rappresentate le 12 stazioni a maggiore affluenza, contando i passeggeri che salgono e scendono dai treni; Berna: escl. RBS; Basilea FFS e Ginevra: sono considerati solo in parte i passeggeri dall’estero che salgono e scendono dai treni; Zurigo Stadelhofen: escl. FB.</a:t>
            </a:r>
            <a:b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</a:b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iferimento: anno d’orario 2025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43DE96C7-7D73-4E9B-892B-6F7D3957AE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za dei viaggiatori nelle stazioni nel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za dei viaggiatori nelle stazioni nel 2024.</dc:title>
  <dc:creator>Meyer Raphael (KOM-PGA-VSF)</dc:creator>
  <cp:lastModifiedBy>Weigel Stefan (PAR-EPS)</cp:lastModifiedBy>
  <cp:revision>57</cp:revision>
  <dcterms:created xsi:type="dcterms:W3CDTF">2020-09-30T11:00:09Z</dcterms:created>
  <dcterms:modified xsi:type="dcterms:W3CDTF">2026-03-30T14:5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